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6"/>
  </p:notesMasterIdLst>
  <p:sldIdLst>
    <p:sldId id="341" r:id="rId9"/>
    <p:sldId id="343" r:id="rId10"/>
    <p:sldId id="464" r:id="rId11"/>
    <p:sldId id="344" r:id="rId12"/>
    <p:sldId id="413" r:id="rId13"/>
    <p:sldId id="366" r:id="rId14"/>
    <p:sldId id="367" r:id="rId15"/>
    <p:sldId id="368" r:id="rId16"/>
    <p:sldId id="369" r:id="rId17"/>
    <p:sldId id="345" r:id="rId18"/>
    <p:sldId id="437" r:id="rId19"/>
    <p:sldId id="372" r:id="rId20"/>
    <p:sldId id="377" r:id="rId21"/>
    <p:sldId id="378" r:id="rId22"/>
    <p:sldId id="379" r:id="rId23"/>
    <p:sldId id="380" r:id="rId24"/>
    <p:sldId id="381" r:id="rId25"/>
    <p:sldId id="382" r:id="rId26"/>
    <p:sldId id="383" r:id="rId27"/>
    <p:sldId id="384" r:id="rId28"/>
    <p:sldId id="385" r:id="rId29"/>
    <p:sldId id="388" r:id="rId30"/>
    <p:sldId id="386" r:id="rId31"/>
    <p:sldId id="387" r:id="rId32"/>
    <p:sldId id="389" r:id="rId33"/>
    <p:sldId id="346" r:id="rId34"/>
    <p:sldId id="390" r:id="rId35"/>
    <p:sldId id="391" r:id="rId36"/>
    <p:sldId id="392" r:id="rId37"/>
    <p:sldId id="348" r:id="rId38"/>
    <p:sldId id="393" r:id="rId39"/>
    <p:sldId id="394"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27"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60"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 id="465" r:id="rId103"/>
    <p:sldId id="466" r:id="rId104"/>
    <p:sldId id="463" r:id="rId105"/>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5"/>
            <p14:sldId id="466"/>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00"/>
    <a:srgbClr val="7AC2C4"/>
    <a:srgbClr val="ABA1A4"/>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sorterViewPr>
    <p:cViewPr>
      <p:scale>
        <a:sx n="100" d="100"/>
        <a:sy n="100" d="100"/>
      </p:scale>
      <p:origin x="0" y="-190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commentAuthors" Target="commentAuthor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viewProps" Target="viewProp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2/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9</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pPr rtl="0">
              <a:lnSpc>
                <a:spcPct val="90000"/>
              </a:lnSpc>
              <a:spcBef>
                <a:spcPts val="600"/>
              </a:spcBef>
              <a:buClr>
                <a:schemeClr val="accent1"/>
              </a:buClr>
            </a:pPr>
            <a:r>
              <a:rPr lang="fr-FR" dirty="0">
                <a:solidFill>
                  <a:srgbClr val="F57100"/>
                </a:solidFill>
              </a:rPr>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21225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241584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KPI de la plateforme.</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385429"/>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pPr marL="0" indent="0">
              <a:buNone/>
            </a:pPr>
            <a:r>
              <a:rPr lang="fr-FR" sz="1600" dirty="0"/>
              <a:t>10	Projets dossier professionnel</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solidFill>
                  <a:srgbClr val="F57100"/>
                </a:solidFill>
              </a:rPr>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to make companies benefit from a 360° support.</a:t>
            </a:r>
          </a:p>
          <a:p>
            <a:r>
              <a:rPr lang="en-US" dirty="0"/>
              <a:t>Its backend is developed in Java with the Spring framework.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11899"/>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solidFill>
                  <a:srgbClr val="F57100"/>
                </a:solidFill>
              </a:rPr>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none" strike="noStrike" baseline="0" dirty="0">
                <a:solidFill>
                  <a:srgbClr val="000000"/>
                </a:solidFill>
                <a:latin typeface="Calibri" panose="020F0502020204030204" pitchFamily="34" charset="0"/>
              </a:rPr>
              <a:t>Dossier service :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4"/>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5"/>
          <a:stretch>
            <a:fillRect/>
          </a:stretch>
        </p:blipFill>
        <p:spPr>
          <a:xfrm>
            <a:off x="6578601" y="19494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6"/>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7"/>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8"/>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9"/>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c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05BA56A-A146-D805-13AD-7C7137B52BA8}"/>
              </a:ext>
            </a:extLst>
          </p:cNvPr>
          <p:cNvSpPr>
            <a:spLocks noGrp="1"/>
          </p:cNvSpPr>
          <p:nvPr>
            <p:ph type="body" sz="quarter" idx="13"/>
          </p:nvPr>
        </p:nvSpPr>
        <p:spPr/>
        <p:txBody>
          <a:bodyPr/>
          <a:lstStyle/>
          <a:p>
            <a:r>
              <a:rPr lang="fr-FR" dirty="0"/>
              <a:t>10</a:t>
            </a:r>
          </a:p>
        </p:txBody>
      </p:sp>
      <p:sp>
        <p:nvSpPr>
          <p:cNvPr id="3" name="Titre 2">
            <a:extLst>
              <a:ext uri="{FF2B5EF4-FFF2-40B4-BE49-F238E27FC236}">
                <a16:creationId xmlns:a16="http://schemas.microsoft.com/office/drawing/2014/main" id="{8E8E9B39-0780-DA96-6582-4DEADDABFF6C}"/>
              </a:ext>
            </a:extLst>
          </p:cNvPr>
          <p:cNvSpPr>
            <a:spLocks noGrp="1"/>
          </p:cNvSpPr>
          <p:nvPr>
            <p:ph type="title"/>
          </p:nvPr>
        </p:nvSpPr>
        <p:spPr/>
        <p:txBody>
          <a:bodyPr/>
          <a:lstStyle/>
          <a:p>
            <a:r>
              <a:rPr lang="fr-FR" dirty="0"/>
              <a:t>Projets dossier professionnel</a:t>
            </a:r>
          </a:p>
        </p:txBody>
      </p:sp>
      <p:pic>
        <p:nvPicPr>
          <p:cNvPr id="4" name="Image 3">
            <a:extLst>
              <a:ext uri="{FF2B5EF4-FFF2-40B4-BE49-F238E27FC236}">
                <a16:creationId xmlns:a16="http://schemas.microsoft.com/office/drawing/2014/main" id="{16C20493-C458-A381-2BAF-CAAE785DCE11}"/>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27010975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D7C21F-75A8-9254-75BF-62A5FA0671E8}"/>
              </a:ext>
            </a:extLst>
          </p:cNvPr>
          <p:cNvSpPr>
            <a:spLocks noGrp="1"/>
          </p:cNvSpPr>
          <p:nvPr>
            <p:ph type="ctrTitle"/>
          </p:nvPr>
        </p:nvSpPr>
        <p:spPr/>
        <p:txBody>
          <a:bodyPr/>
          <a:lstStyle/>
          <a:p>
            <a:r>
              <a:rPr lang="fr-FR" dirty="0"/>
              <a:t>Projets dossier professionnel</a:t>
            </a:r>
          </a:p>
        </p:txBody>
      </p:sp>
      <p:graphicFrame>
        <p:nvGraphicFramePr>
          <p:cNvPr id="4" name="Tableau 4">
            <a:extLst>
              <a:ext uri="{FF2B5EF4-FFF2-40B4-BE49-F238E27FC236}">
                <a16:creationId xmlns:a16="http://schemas.microsoft.com/office/drawing/2014/main" id="{4D967803-2E62-672D-D5FE-BB59A9B6E85F}"/>
              </a:ext>
            </a:extLst>
          </p:cNvPr>
          <p:cNvGraphicFramePr>
            <a:graphicFrameLocks noGrp="1"/>
          </p:cNvGraphicFramePr>
          <p:nvPr>
            <p:extLst>
              <p:ext uri="{D42A27DB-BD31-4B8C-83A1-F6EECF244321}">
                <p14:modId xmlns:p14="http://schemas.microsoft.com/office/powerpoint/2010/main" val="974754017"/>
              </p:ext>
            </p:extLst>
          </p:nvPr>
        </p:nvGraphicFramePr>
        <p:xfrm>
          <a:off x="88770" y="1439639"/>
          <a:ext cx="9715630" cy="5320553"/>
        </p:xfrm>
        <a:graphic>
          <a:graphicData uri="http://schemas.openxmlformats.org/drawingml/2006/table">
            <a:tbl>
              <a:tblPr firstRow="1" bandRow="1">
                <a:tableStyleId>{5C22544A-7EE6-4342-B048-85BDC9FD1C3A}</a:tableStyleId>
              </a:tblPr>
              <a:tblGrid>
                <a:gridCol w="560928">
                  <a:extLst>
                    <a:ext uri="{9D8B030D-6E8A-4147-A177-3AD203B41FA5}">
                      <a16:colId xmlns:a16="http://schemas.microsoft.com/office/drawing/2014/main" val="375882729"/>
                    </a:ext>
                  </a:extLst>
                </a:gridCol>
                <a:gridCol w="1616769">
                  <a:extLst>
                    <a:ext uri="{9D8B030D-6E8A-4147-A177-3AD203B41FA5}">
                      <a16:colId xmlns:a16="http://schemas.microsoft.com/office/drawing/2014/main" val="1231185852"/>
                    </a:ext>
                  </a:extLst>
                </a:gridCol>
                <a:gridCol w="585601">
                  <a:extLst>
                    <a:ext uri="{9D8B030D-6E8A-4147-A177-3AD203B41FA5}">
                      <a16:colId xmlns:a16="http://schemas.microsoft.com/office/drawing/2014/main" val="2445597396"/>
                    </a:ext>
                  </a:extLst>
                </a:gridCol>
                <a:gridCol w="3704564">
                  <a:extLst>
                    <a:ext uri="{9D8B030D-6E8A-4147-A177-3AD203B41FA5}">
                      <a16:colId xmlns:a16="http://schemas.microsoft.com/office/drawing/2014/main" val="1436947120"/>
                    </a:ext>
                  </a:extLst>
                </a:gridCol>
                <a:gridCol w="811942">
                  <a:extLst>
                    <a:ext uri="{9D8B030D-6E8A-4147-A177-3AD203B41FA5}">
                      <a16:colId xmlns:a16="http://schemas.microsoft.com/office/drawing/2014/main" val="3559186016"/>
                    </a:ext>
                  </a:extLst>
                </a:gridCol>
                <a:gridCol w="811942">
                  <a:extLst>
                    <a:ext uri="{9D8B030D-6E8A-4147-A177-3AD203B41FA5}">
                      <a16:colId xmlns:a16="http://schemas.microsoft.com/office/drawing/2014/main" val="2327840406"/>
                    </a:ext>
                  </a:extLst>
                </a:gridCol>
                <a:gridCol w="811942">
                  <a:extLst>
                    <a:ext uri="{9D8B030D-6E8A-4147-A177-3AD203B41FA5}">
                      <a16:colId xmlns:a16="http://schemas.microsoft.com/office/drawing/2014/main" val="2614768929"/>
                    </a:ext>
                  </a:extLst>
                </a:gridCol>
                <a:gridCol w="811942">
                  <a:extLst>
                    <a:ext uri="{9D8B030D-6E8A-4147-A177-3AD203B41FA5}">
                      <a16:colId xmlns:a16="http://schemas.microsoft.com/office/drawing/2014/main" val="1873770794"/>
                    </a:ext>
                  </a:extLst>
                </a:gridCol>
              </a:tblGrid>
              <a:tr h="356917">
                <a:tc>
                  <a:txBody>
                    <a:bodyPr/>
                    <a:lstStyle/>
                    <a:p>
                      <a:pPr algn="ctr"/>
                      <a:r>
                        <a:rPr lang="fr-FR" sz="1000" dirty="0"/>
                        <a:t>N° Fiche AT</a:t>
                      </a:r>
                    </a:p>
                  </a:txBody>
                  <a:tcPr anchor="ctr"/>
                </a:tc>
                <a:tc>
                  <a:txBody>
                    <a:bodyPr/>
                    <a:lstStyle/>
                    <a:p>
                      <a:r>
                        <a:rPr lang="fr-FR" sz="1000" dirty="0"/>
                        <a:t>Activités types</a:t>
                      </a:r>
                    </a:p>
                  </a:txBody>
                  <a:tcPr anchor="ctr"/>
                </a:tc>
                <a:tc>
                  <a:txBody>
                    <a:bodyPr/>
                    <a:lstStyle/>
                    <a:p>
                      <a:pPr algn="ctr"/>
                      <a:r>
                        <a:rPr lang="fr-FR" sz="1000" dirty="0"/>
                        <a:t>N° Fiche CP</a:t>
                      </a:r>
                    </a:p>
                  </a:txBody>
                  <a:tcPr anchor="ctr"/>
                </a:tc>
                <a:tc>
                  <a:txBody>
                    <a:bodyPr/>
                    <a:lstStyle/>
                    <a:p>
                      <a:r>
                        <a:rPr lang="fr-FR" sz="1000" dirty="0"/>
                        <a:t>Compétences professionnelles</a:t>
                      </a:r>
                    </a:p>
                  </a:txBody>
                  <a:tcPr anchor="ctr"/>
                </a:tc>
                <a:tc>
                  <a:txBody>
                    <a:bodyPr/>
                    <a:lstStyle/>
                    <a:p>
                      <a:pPr algn="ctr"/>
                      <a:r>
                        <a:rPr lang="fr-FR" sz="1000" dirty="0" err="1"/>
                        <a:t>Todo</a:t>
                      </a:r>
                      <a:endParaRPr lang="fr-FR" sz="1000" dirty="0"/>
                    </a:p>
                  </a:txBody>
                  <a:tcPr anchor="ctr"/>
                </a:tc>
                <a:tc>
                  <a:txBody>
                    <a:bodyPr/>
                    <a:lstStyle/>
                    <a:p>
                      <a:pPr algn="ctr"/>
                      <a:r>
                        <a:rPr lang="fr-FR" sz="1000" dirty="0"/>
                        <a:t>Info+</a:t>
                      </a:r>
                    </a:p>
                  </a:txBody>
                  <a:tcPr anchor="ctr"/>
                </a:tc>
                <a:tc>
                  <a:txBody>
                    <a:bodyPr/>
                    <a:lstStyle/>
                    <a:p>
                      <a:pPr algn="ctr"/>
                      <a:r>
                        <a:rPr lang="fr-FR" sz="1000" dirty="0" err="1"/>
                        <a:t>eCom-merce</a:t>
                      </a:r>
                      <a:endParaRPr lang="fr-FR" sz="1000" dirty="0"/>
                    </a:p>
                  </a:txBody>
                  <a:tcPr anchor="ctr"/>
                </a:tc>
                <a:tc>
                  <a:txBody>
                    <a:bodyPr/>
                    <a:lstStyle/>
                    <a:p>
                      <a:pPr algn="ctr"/>
                      <a:r>
                        <a:rPr lang="fr-FR" sz="1000" dirty="0"/>
                        <a:t>Wookie</a:t>
                      </a:r>
                    </a:p>
                  </a:txBody>
                  <a:tcPr anchor="ctr"/>
                </a:tc>
                <a:extLst>
                  <a:ext uri="{0D108BD9-81ED-4DB2-BD59-A6C34878D82A}">
                    <a16:rowId xmlns:a16="http://schemas.microsoft.com/office/drawing/2014/main" val="1708248628"/>
                  </a:ext>
                </a:extLst>
              </a:tr>
              <a:tr h="344748">
                <a:tc rowSpan="5">
                  <a:txBody>
                    <a:bodyPr/>
                    <a:lstStyle/>
                    <a:p>
                      <a:pPr algn="ctr"/>
                      <a:r>
                        <a:rPr lang="fr-FR" sz="1000" dirty="0"/>
                        <a:t>1</a:t>
                      </a:r>
                    </a:p>
                  </a:txBody>
                  <a:tcPr anchor="ctr"/>
                </a:tc>
                <a:tc rowSpan="5">
                  <a:txBody>
                    <a:bodyPr/>
                    <a:lstStyle/>
                    <a:p>
                      <a:r>
                        <a:rPr lang="fr-FR" sz="1000" dirty="0"/>
                        <a:t>Concevoir et développer des composants d'interface utilisateur en intégrant les recommandations de sécurité</a:t>
                      </a:r>
                    </a:p>
                  </a:txBody>
                  <a:tcPr anchor="ctr"/>
                </a:tc>
                <a:tc>
                  <a:txBody>
                    <a:bodyPr/>
                    <a:lstStyle/>
                    <a:p>
                      <a:pPr algn="ctr"/>
                      <a:r>
                        <a:rPr lang="fr-FR" sz="1000" dirty="0"/>
                        <a:t>1</a:t>
                      </a:r>
                    </a:p>
                  </a:txBody>
                  <a:tcPr anchor="ctr"/>
                </a:tc>
                <a:tc>
                  <a:txBody>
                    <a:bodyPr/>
                    <a:lstStyle/>
                    <a:p>
                      <a:r>
                        <a:rPr lang="fr-FR" sz="1000" dirty="0"/>
                        <a:t>Maquette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55079783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2</a:t>
                      </a:r>
                    </a:p>
                  </a:txBody>
                  <a:tcPr anchor="ctr"/>
                </a:tc>
                <a:tc>
                  <a:txBody>
                    <a:bodyPr/>
                    <a:lstStyle/>
                    <a:p>
                      <a:r>
                        <a:rPr lang="fr-FR" sz="1000" dirty="0"/>
                        <a:t>Développer une interface utilisateur de type desktop</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36878184"/>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3</a:t>
                      </a:r>
                    </a:p>
                  </a:txBody>
                  <a:tcPr anchor="ctr"/>
                </a:tc>
                <a:tc>
                  <a:txBody>
                    <a:bodyPr/>
                    <a:lstStyle/>
                    <a:p>
                      <a:r>
                        <a:rPr lang="fr-FR" sz="1000" dirty="0"/>
                        <a:t>Développer des composants d’accès aux donné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98359968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4</a:t>
                      </a:r>
                    </a:p>
                  </a:txBody>
                  <a:tcPr anchor="ctr"/>
                </a:tc>
                <a:tc>
                  <a:txBody>
                    <a:bodyPr/>
                    <a:lstStyle/>
                    <a:p>
                      <a:r>
                        <a:rPr lang="fr-FR" sz="1000" dirty="0"/>
                        <a:t>Développer la partie </a:t>
                      </a:r>
                      <a:r>
                        <a:rPr lang="fr-FR" sz="1000" dirty="0" err="1"/>
                        <a:t>front-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645604395"/>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5</a:t>
                      </a:r>
                    </a:p>
                  </a:txBody>
                  <a:tcPr anchor="ctr"/>
                </a:tc>
                <a:tc>
                  <a:txBody>
                    <a:bodyPr/>
                    <a:lstStyle/>
                    <a:p>
                      <a:r>
                        <a:rPr lang="fr-FR" sz="1000" dirty="0"/>
                        <a:t>Développer la partie back-end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566928660"/>
                  </a:ext>
                </a:extLst>
              </a:tr>
              <a:tr h="257773">
                <a:tc rowSpan="3">
                  <a:txBody>
                    <a:bodyPr/>
                    <a:lstStyle/>
                    <a:p>
                      <a:pPr algn="ctr"/>
                      <a:r>
                        <a:rPr lang="fr-FR" sz="1000" dirty="0"/>
                        <a:t>2</a:t>
                      </a:r>
                    </a:p>
                  </a:txBody>
                  <a:tcPr anchor="ctr"/>
                </a:tc>
                <a:tc rowSpan="3">
                  <a:txBody>
                    <a:bodyPr/>
                    <a:lstStyle/>
                    <a:p>
                      <a:r>
                        <a:rPr lang="fr-FR" sz="1000" dirty="0"/>
                        <a:t>Concevoir et développer la persistance des données en intégrant les recommandations de sécurité</a:t>
                      </a:r>
                    </a:p>
                  </a:txBody>
                  <a:tcPr anchor="ctr"/>
                </a:tc>
                <a:tc>
                  <a:txBody>
                    <a:bodyPr/>
                    <a:lstStyle/>
                    <a:p>
                      <a:pPr algn="ctr"/>
                      <a:r>
                        <a:rPr lang="fr-FR" sz="1000" dirty="0"/>
                        <a:t>6</a:t>
                      </a:r>
                    </a:p>
                  </a:txBody>
                  <a:tcPr anchor="ctr"/>
                </a:tc>
                <a:tc>
                  <a:txBody>
                    <a:bodyPr/>
                    <a:lstStyle/>
                    <a:p>
                      <a:r>
                        <a:rPr lang="fr-FR" sz="1000" dirty="0"/>
                        <a:t>Concevoir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011057747"/>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7</a:t>
                      </a:r>
                    </a:p>
                  </a:txBody>
                  <a:tcPr anchor="ctr"/>
                </a:tc>
                <a:tc>
                  <a:txBody>
                    <a:bodyPr/>
                    <a:lstStyle/>
                    <a:p>
                      <a:r>
                        <a:rPr lang="fr-FR" sz="1000" dirty="0"/>
                        <a:t>Mettre en place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50262468"/>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8</a:t>
                      </a:r>
                    </a:p>
                  </a:txBody>
                  <a:tcPr anchor="ctr"/>
                </a:tc>
                <a:tc>
                  <a:txBody>
                    <a:bodyPr/>
                    <a:lstStyle/>
                    <a:p>
                      <a:r>
                        <a:rPr lang="fr-FR" sz="1000" dirty="0"/>
                        <a:t>Développer des composants dans le langage d’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4041709430"/>
                  </a:ext>
                </a:extLst>
              </a:tr>
              <a:tr h="456060">
                <a:tc rowSpan="7">
                  <a:txBody>
                    <a:bodyPr/>
                    <a:lstStyle/>
                    <a:p>
                      <a:pPr algn="ctr"/>
                      <a:r>
                        <a:rPr lang="fr-FR" sz="1000" dirty="0"/>
                        <a:t>3</a:t>
                      </a:r>
                    </a:p>
                  </a:txBody>
                  <a:tcPr anchor="ctr"/>
                </a:tc>
                <a:tc rowSpan="7">
                  <a:txBody>
                    <a:bodyPr/>
                    <a:lstStyle/>
                    <a:p>
                      <a:r>
                        <a:rPr lang="fr-FR" sz="1000" dirty="0"/>
                        <a:t>Concevoir et développer une application multicouche répartie en intégrant les recommandations de sécurité</a:t>
                      </a:r>
                    </a:p>
                  </a:txBody>
                  <a:tcPr anchor="ctr"/>
                </a:tc>
                <a:tc>
                  <a:txBody>
                    <a:bodyPr/>
                    <a:lstStyle/>
                    <a:p>
                      <a:pPr algn="ctr"/>
                      <a:r>
                        <a:rPr lang="fr-FR" sz="1000" dirty="0"/>
                        <a:t>9</a:t>
                      </a:r>
                    </a:p>
                  </a:txBody>
                  <a:tcPr anchor="ctr"/>
                </a:tc>
                <a:tc>
                  <a:txBody>
                    <a:bodyPr/>
                    <a:lstStyle/>
                    <a:p>
                      <a:r>
                        <a:rPr lang="fr-FR" sz="1000" dirty="0"/>
                        <a:t>Collaborer à la gestion d’un projet informatique et à l’organisation de l’environnement de développement</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1262497661"/>
                  </a:ext>
                </a:extLst>
              </a:tr>
              <a:tr h="182367">
                <a:tc vMerge="1">
                  <a:txBody>
                    <a:bodyPr/>
                    <a:lstStyle/>
                    <a:p>
                      <a:endParaRPr lang="fr-FR" sz="1000"/>
                    </a:p>
                  </a:txBody>
                  <a:tcPr/>
                </a:tc>
                <a:tc vMerge="1">
                  <a:txBody>
                    <a:bodyPr/>
                    <a:lstStyle/>
                    <a:p>
                      <a:endParaRPr lang="fr-FR" sz="1000"/>
                    </a:p>
                  </a:txBody>
                  <a:tcPr/>
                </a:tc>
                <a:tc>
                  <a:txBody>
                    <a:bodyPr/>
                    <a:lstStyle/>
                    <a:p>
                      <a:pPr algn="ctr"/>
                      <a:r>
                        <a:rPr lang="fr-FR" sz="1000" dirty="0"/>
                        <a:t>10</a:t>
                      </a:r>
                    </a:p>
                  </a:txBody>
                  <a:tcPr anchor="ctr"/>
                </a:tc>
                <a:tc>
                  <a:txBody>
                    <a:bodyPr/>
                    <a:lstStyle/>
                    <a:p>
                      <a:r>
                        <a:rPr lang="fr-FR" sz="1000" dirty="0"/>
                        <a:t>Concevoi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172681368"/>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1</a:t>
                      </a:r>
                    </a:p>
                  </a:txBody>
                  <a:tcPr anchor="ctr"/>
                </a:tc>
                <a:tc>
                  <a:txBody>
                    <a:bodyPr/>
                    <a:lstStyle/>
                    <a:p>
                      <a:r>
                        <a:rPr lang="fr-FR" sz="1000" dirty="0"/>
                        <a:t>Développer des composants métier</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78635700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2</a:t>
                      </a:r>
                    </a:p>
                  </a:txBody>
                  <a:tcPr anchor="ctr"/>
                </a:tc>
                <a:tc>
                  <a:txBody>
                    <a:bodyPr/>
                    <a:lstStyle/>
                    <a:p>
                      <a:r>
                        <a:rPr lang="fr-FR" sz="1000" dirty="0"/>
                        <a:t>Construire une application organisée en couch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297870704"/>
                  </a:ext>
                </a:extLst>
              </a:tr>
              <a:tr h="182367">
                <a:tc vMerge="1">
                  <a:txBody>
                    <a:bodyPr/>
                    <a:lstStyle/>
                    <a:p>
                      <a:endParaRPr lang="fr-FR" sz="1000" dirty="0"/>
                    </a:p>
                  </a:txBody>
                  <a:tcPr/>
                </a:tc>
                <a:tc vMerge="1">
                  <a:txBody>
                    <a:bodyPr/>
                    <a:lstStyle/>
                    <a:p>
                      <a:endParaRPr lang="fr-FR" sz="1000"/>
                    </a:p>
                  </a:txBody>
                  <a:tcPr/>
                </a:tc>
                <a:tc>
                  <a:txBody>
                    <a:bodyPr/>
                    <a:lstStyle/>
                    <a:p>
                      <a:pPr algn="ctr"/>
                      <a:r>
                        <a:rPr lang="fr-FR" sz="1000" dirty="0"/>
                        <a:t>13</a:t>
                      </a:r>
                    </a:p>
                  </a:txBody>
                  <a:tcPr anchor="ctr"/>
                </a:tc>
                <a:tc>
                  <a:txBody>
                    <a:bodyPr/>
                    <a:lstStyle/>
                    <a:p>
                      <a:r>
                        <a:rPr lang="fr-FR" sz="1000" dirty="0"/>
                        <a:t>Développer une application mobile</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300026889"/>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4</a:t>
                      </a:r>
                    </a:p>
                  </a:txBody>
                  <a:tcPr anchor="ctr"/>
                </a:tc>
                <a:tc>
                  <a:txBody>
                    <a:bodyPr/>
                    <a:lstStyle/>
                    <a:p>
                      <a:r>
                        <a:rPr lang="fr-FR" sz="1000" dirty="0"/>
                        <a:t>Préparer et exécuter les plans de tests d’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9808701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5</a:t>
                      </a:r>
                    </a:p>
                  </a:txBody>
                  <a:tcPr anchor="ctr"/>
                </a:tc>
                <a:tc>
                  <a:txBody>
                    <a:bodyPr/>
                    <a:lstStyle/>
                    <a:p>
                      <a:r>
                        <a:rPr lang="fr-FR" sz="1000" dirty="0"/>
                        <a:t>Préparer et exécuter le déploiement d’une application</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3113855429"/>
                  </a:ext>
                </a:extLst>
              </a:tr>
            </a:tbl>
          </a:graphicData>
        </a:graphic>
      </p:graphicFrame>
    </p:spTree>
    <p:extLst>
      <p:ext uri="{BB962C8B-B14F-4D97-AF65-F5344CB8AC3E}">
        <p14:creationId xmlns:p14="http://schemas.microsoft.com/office/powerpoint/2010/main" val="29934069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3.xml><?xml version="1.0" encoding="utf-8"?>
<ds:datastoreItem xmlns:ds="http://schemas.openxmlformats.org/officeDocument/2006/customXml" ds:itemID="{4943F408-0C35-4C68-992E-47560AEC89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638</TotalTime>
  <Words>4919</Words>
  <Application>Microsoft Office PowerPoint</Application>
  <PresentationFormat>Format A4 (210 x 297 mm)</PresentationFormat>
  <Paragraphs>489</Paragraphs>
  <Slides>97</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7</vt:i4>
      </vt:variant>
    </vt:vector>
  </HeadingPairs>
  <TitlesOfParts>
    <vt:vector size="110"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ojets dossier professionnel</vt:lpstr>
      <vt:lpstr>Projets dossier professionnel</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31</cp:revision>
  <cp:lastPrinted>2017-01-24T17:37:38Z</cp:lastPrinted>
  <dcterms:created xsi:type="dcterms:W3CDTF">2017-09-04T14:23:47Z</dcterms:created>
  <dcterms:modified xsi:type="dcterms:W3CDTF">2022-08-22T07:4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